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7.xml" ContentType="application/vnd.openxmlformats-officedocument.theme+xml"/>
  <Override PartName="/ppt/slideLayouts/slideLayout66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0.xml" ContentType="application/vnd.openxmlformats-officedocument.theme+xml"/>
  <Override PartName="/ppt/tags/tag14.xml" ContentType="application/vnd.openxmlformats-officedocument.presentationml.tags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6" r:id="rId6"/>
    <p:sldMasterId id="2147483701" r:id="rId7"/>
    <p:sldMasterId id="2147483704" r:id="rId8"/>
    <p:sldMasterId id="2147483709" r:id="rId9"/>
    <p:sldMasterId id="2147483723" r:id="rId10"/>
    <p:sldMasterId id="2147483741" r:id="rId11"/>
    <p:sldMasterId id="2147483743" r:id="rId12"/>
    <p:sldMasterId id="2147483749" r:id="rId13"/>
  </p:sldMasterIdLst>
  <p:notesMasterIdLst>
    <p:notesMasterId r:id="rId22"/>
  </p:notesMasterIdLst>
  <p:sldIdLst>
    <p:sldId id="1256" r:id="rId14"/>
    <p:sldId id="1257" r:id="rId15"/>
    <p:sldId id="1258" r:id="rId16"/>
    <p:sldId id="1259" r:id="rId17"/>
    <p:sldId id="1260" r:id="rId18"/>
    <p:sldId id="1261" r:id="rId19"/>
    <p:sldId id="1262" r:id="rId20"/>
    <p:sldId id="1263" r:id="rId21"/>
  </p:sldIdLst>
  <p:sldSz cx="12192000" cy="6858000"/>
  <p:notesSz cx="7023100" cy="93091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7A9A03D-9376-43D8-98E1-7AEF1C6FCA50}">
          <p14:sldIdLst>
            <p14:sldId id="1256"/>
            <p14:sldId id="1257"/>
            <p14:sldId id="1258"/>
            <p14:sldId id="1259"/>
            <p14:sldId id="1260"/>
            <p14:sldId id="1261"/>
            <p14:sldId id="1262"/>
            <p14:sldId id="126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Simpson" initials="AKS" lastIdx="2" clrIdx="0"/>
  <p:cmAuthor id="2" name="Toba Ogunsanwo" initials="TO" lastIdx="2" clrIdx="1">
    <p:extLst>
      <p:ext uri="{19B8F6BF-5375-455C-9EA6-DF929625EA0E}">
        <p15:presenceInfo xmlns:p15="http://schemas.microsoft.com/office/powerpoint/2012/main" userId="S-1-5-21-4286958989-1320403947-2984280511-3730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FFF03"/>
    <a:srgbClr val="2E2E2E"/>
    <a:srgbClr val="3366CC"/>
    <a:srgbClr val="0000CC"/>
    <a:srgbClr val="6600FF"/>
    <a:srgbClr val="3333FF"/>
    <a:srgbClr val="7395D3"/>
    <a:srgbClr val="005FA2"/>
    <a:srgbClr val="005F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48" autoAdjust="0"/>
    <p:restoredTop sz="95909" autoAdjust="0"/>
  </p:normalViewPr>
  <p:slideViewPr>
    <p:cSldViewPr snapToGrid="0">
      <p:cViewPr varScale="1">
        <p:scale>
          <a:sx n="103" d="100"/>
          <a:sy n="103" d="100"/>
        </p:scale>
        <p:origin x="624" y="12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9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200"/>
            </a:lvl1pPr>
          </a:lstStyle>
          <a:p>
            <a:fld id="{8EE10503-191A-4722-93F1-F28CC68F3554}" type="datetimeFigureOut">
              <a:rPr lang="en-US" smtClean="0"/>
              <a:t>1/2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9" rIns="93317" bIns="4665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9"/>
          </a:xfrm>
          <a:prstGeom prst="rect">
            <a:avLst/>
          </a:prstGeom>
        </p:spPr>
        <p:txBody>
          <a:bodyPr vert="horz" lIns="93317" tIns="46659" rIns="93317" bIns="4665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200"/>
            </a:lvl1pPr>
          </a:lstStyle>
          <a:p>
            <a:fld id="{74AF859A-5225-4344-B8BF-90D0764D7B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3895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lor map: 1061240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F859A-5225-4344-B8BF-90D0764D7BB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7811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lor map: 10612400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F859A-5225-4344-B8BF-90D0764D7BB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405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4051762"/>
            <a:ext cx="11161444" cy="1563226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5557838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4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63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60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90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492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457201"/>
            <a:ext cx="11277600" cy="381896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1" y="6400800"/>
            <a:ext cx="530225" cy="217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fld id="{8DA1294D-844E-4586-95B9-E1422D7DD3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632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Multi Later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133798" y="3128918"/>
            <a:ext cx="7924405" cy="646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3599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3599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3599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rgbClr val="7567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rgbClr val="1D4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593204" y="4307421"/>
            <a:ext cx="719906" cy="126000"/>
          </a:xfrm>
          <a:prstGeom prst="rect">
            <a:avLst/>
          </a:prstGeom>
          <a:solidFill>
            <a:srgbClr val="A2C1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06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47"/>
          <p:cNvSpPr/>
          <p:nvPr userDrawn="1"/>
        </p:nvSpPr>
        <p:spPr>
          <a:xfrm>
            <a:off x="0" y="0"/>
            <a:ext cx="56547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Aft>
                <a:spcPts val="600"/>
              </a:spcAft>
            </a:pPr>
            <a:endParaRPr lang="en-US" sz="14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2350318" y="3366627"/>
            <a:ext cx="52821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CONVENTIONAL COMPLETIONS 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65D7E0C-C1C6-4F61-9FE1-9CD2E1C055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091" y="1825625"/>
            <a:ext cx="10515818" cy="4351338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800">
                <a:latin typeface="+mj-lt"/>
              </a:defRPr>
            </a:lvl1pPr>
            <a:lvl2pPr marL="685800" indent="-228600">
              <a:buFont typeface="Wingdings" panose="05000000000000000000" pitchFamily="2" charset="2"/>
              <a:buChar char="§"/>
              <a:defRPr sz="2400">
                <a:latin typeface="+mj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92C45DB-A55A-4B97-AF5A-00919AC0D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</p:spPr>
        <p:txBody>
          <a:bodyPr>
            <a:normAutofit/>
          </a:bodyPr>
          <a:lstStyle>
            <a:lvl1pPr>
              <a:defRPr sz="44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9510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igh Volume Block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rot="16200000">
            <a:off x="-865380" y="5459070"/>
            <a:ext cx="2254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4211"/>
            <a:r>
              <a:rPr lang="en-US" sz="1600" dirty="0">
                <a:solidFill>
                  <a:prstClr val="white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6" name="TextBox 5"/>
          <p:cNvSpPr txBox="1"/>
          <p:nvPr userDrawn="1"/>
        </p:nvSpPr>
        <p:spPr>
          <a:xfrm rot="16200000">
            <a:off x="-1104299" y="5220150"/>
            <a:ext cx="2732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70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457201"/>
            <a:ext cx="11277600" cy="381896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41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96838"/>
            <a:ext cx="11176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3184" y="1320800"/>
            <a:ext cx="54864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82784" y="1320800"/>
            <a:ext cx="54864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82784" y="3454400"/>
            <a:ext cx="54864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10"/>
          </p:nvPr>
        </p:nvSpPr>
        <p:spPr>
          <a:xfrm>
            <a:off x="5862" y="6319838"/>
            <a:ext cx="2540000" cy="457200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 Narrow" charset="0"/>
                <a:ea typeface="ＭＳ Ｐゴシック" charset="-128"/>
              </a:defRPr>
            </a:lvl1pPr>
          </a:lstStyle>
          <a:p>
            <a:pPr>
              <a:defRPr/>
            </a:pPr>
            <a:fld id="{9E81D736-2AB5-485D-9E59-D69B7FE6F49C}" type="slidenum">
              <a:rPr lang="en-US" altLang="en-US"/>
              <a:pPr>
                <a:defRPr/>
              </a:pPr>
              <a:t>‹#›</a:t>
            </a:fld>
            <a:r>
              <a:rPr lang="en-US" altLang="en-US" dirty="0"/>
              <a:t>	</a:t>
            </a:r>
            <a:fld id="{D65C2B6E-3A87-4F9B-83D8-DC0620F30274}" type="datetime1">
              <a:rPr lang="en-US" altLang="en-US"/>
              <a:pPr>
                <a:defRPr/>
              </a:pPr>
              <a:t>1/23/202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625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PT_16by9_19MAY118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F1753-26D3-8E43-8D84-FF327188E3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4800" y="594807"/>
            <a:ext cx="11127317" cy="52378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984002" y="1144801"/>
            <a:ext cx="7717367" cy="3763963"/>
          </a:xfrm>
          <a:prstGeom prst="rect">
            <a:avLst/>
          </a:prstGeom>
        </p:spPr>
        <p:txBody>
          <a:bodyPr/>
          <a:lstStyle>
            <a:lvl1pPr>
              <a:defRPr sz="2933">
                <a:latin typeface="+mn-lt"/>
              </a:defRPr>
            </a:lvl1pPr>
            <a:lvl2pPr marL="355591" indent="-353475">
              <a:defRPr sz="2933">
                <a:latin typeface="+mn-lt"/>
              </a:defRPr>
            </a:lvl2pPr>
            <a:lvl3pPr marL="592652" indent="-237061">
              <a:defRPr sz="2667">
                <a:latin typeface="+mn-lt"/>
              </a:defRPr>
            </a:lvl3pPr>
            <a:lvl4pPr marL="958827" indent="-366175">
              <a:defRPr sz="2400">
                <a:latin typeface="+mn-lt"/>
              </a:defRPr>
            </a:lvl4pPr>
            <a:lvl5pPr marL="1314418" indent="-355591">
              <a:defRPr sz="2133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365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2980196"/>
            <a:ext cx="11161445" cy="1563226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4600576"/>
            <a:ext cx="11161445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4" y="6178335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7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401501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4051762"/>
            <a:ext cx="11161444" cy="1563226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5557838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4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7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2980196"/>
            <a:ext cx="11161445" cy="1563226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4600576"/>
            <a:ext cx="11161445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4" y="6178335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7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43968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D43B81-3D61-4E55-AEE0-1C8B95537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2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D43B81-3D61-4E55-AEE0-1C8B95537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065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85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57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15B186-0FE0-4525-B897-98C10CFAF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15B186-0FE0-4525-B897-98C10CFAF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461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7813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15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62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0959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34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D43B81-3D61-4E55-AEE0-1C8B95537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34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7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D43B81-3D61-4E55-AEE0-1C8B95537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719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62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1419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1" y="457201"/>
            <a:ext cx="11277600" cy="381896"/>
          </a:xfrm>
          <a:prstGeom prst="rect">
            <a:avLst/>
          </a:prstGeom>
        </p:spPr>
        <p:txBody>
          <a:bodyPr lIns="0" tIns="0" rIns="0" bIns="0"/>
          <a:lstStyle>
            <a:lvl1pPr>
              <a:defRPr sz="3199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228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PPT_16by9_19MAY118.jpg">
            <a:extLst>
              <a:ext uri="{FF2B5EF4-FFF2-40B4-BE49-F238E27FC236}">
                <a16:creationId xmlns:a16="http://schemas.microsoft.com/office/drawing/2014/main" id="{FBB3BB9E-9F40-459C-926B-BF43181C13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4800" y="594807"/>
            <a:ext cx="11127318" cy="52378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984005" y="1144803"/>
            <a:ext cx="7717367" cy="3763963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+mn-lt"/>
              </a:defRPr>
            </a:lvl1pPr>
            <a:lvl2pPr marL="266676" indent="-265089">
              <a:defRPr sz="2200">
                <a:latin typeface="+mn-lt"/>
              </a:defRPr>
            </a:lvl2pPr>
            <a:lvl3pPr marL="444461" indent="-177784">
              <a:defRPr sz="2000">
                <a:latin typeface="+mn-lt"/>
              </a:defRPr>
            </a:lvl3pPr>
            <a:lvl4pPr marL="719073" indent="-274613">
              <a:defRPr sz="1800">
                <a:latin typeface="+mn-lt"/>
              </a:defRPr>
            </a:lvl4pPr>
            <a:lvl5pPr marL="985750" indent="-266676"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D6FB15C-4B39-4086-9EC5-2C9ABDBFF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64271" y="6609292"/>
            <a:ext cx="1383771" cy="223573"/>
          </a:xfrm>
          <a:prstGeom prst="rect">
            <a:avLst/>
          </a:prstGeom>
        </p:spPr>
        <p:txBody>
          <a:bodyPr lIns="91435" tIns="45718" rIns="91435" bIns="45718"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pPr>
              <a:defRPr/>
            </a:pPr>
            <a:fld id="{27C86F31-8387-4F97-B007-1104C47D7D1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0403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0879" y="1755778"/>
            <a:ext cx="11250247" cy="1470025"/>
          </a:xfrm>
        </p:spPr>
        <p:txBody>
          <a:bodyPr anchor="b"/>
          <a:lstStyle>
            <a:lvl1pPr>
              <a:defRPr sz="3871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879" y="3520440"/>
            <a:ext cx="11250247" cy="1752600"/>
          </a:xfrm>
        </p:spPr>
        <p:txBody>
          <a:bodyPr/>
          <a:lstStyle>
            <a:lvl1pPr marL="0" indent="0" algn="l">
              <a:spcBef>
                <a:spcPts val="553"/>
              </a:spcBef>
              <a:buNone/>
              <a:defRPr>
                <a:solidFill>
                  <a:schemeClr val="tx1"/>
                </a:solidFill>
              </a:defRPr>
            </a:lvl1pPr>
            <a:lvl2pPr marL="42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2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5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7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8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0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1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182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Multi Later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133798" y="3128918"/>
            <a:ext cx="7924405" cy="646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3599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3599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3599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rgbClr val="7567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rgbClr val="1D4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593204" y="4307421"/>
            <a:ext cx="719906" cy="126000"/>
          </a:xfrm>
          <a:prstGeom prst="rect">
            <a:avLst/>
          </a:prstGeom>
          <a:solidFill>
            <a:srgbClr val="A2C1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791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47"/>
          <p:cNvSpPr/>
          <p:nvPr userDrawn="1"/>
        </p:nvSpPr>
        <p:spPr>
          <a:xfrm>
            <a:off x="0" y="0"/>
            <a:ext cx="56547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Aft>
                <a:spcPts val="600"/>
              </a:spcAft>
            </a:pPr>
            <a:endParaRPr lang="en-US" sz="14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1073819" y="5504630"/>
            <a:ext cx="2671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65D7E0C-C1C6-4F61-9FE1-9CD2E1C055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091" y="1825625"/>
            <a:ext cx="10515818" cy="4351338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800">
                <a:latin typeface="+mj-lt"/>
              </a:defRPr>
            </a:lvl1pPr>
            <a:lvl2pPr marL="685800" indent="-228600">
              <a:buFont typeface="Wingdings" panose="05000000000000000000" pitchFamily="2" charset="2"/>
              <a:buChar char="§"/>
              <a:defRPr sz="2400">
                <a:latin typeface="+mj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92C45DB-A55A-4B97-AF5A-00919AC0D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</p:spPr>
        <p:txBody>
          <a:bodyPr>
            <a:normAutofit/>
          </a:bodyPr>
          <a:lstStyle>
            <a:lvl1pPr>
              <a:defRPr sz="44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91558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igh Volume Block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rot="16200000">
            <a:off x="-865380" y="5459070"/>
            <a:ext cx="2254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4211"/>
            <a:r>
              <a:rPr lang="en-US" sz="1600" dirty="0">
                <a:solidFill>
                  <a:prstClr val="white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6" name="TextBox 5"/>
          <p:cNvSpPr txBox="1"/>
          <p:nvPr userDrawn="1"/>
        </p:nvSpPr>
        <p:spPr>
          <a:xfrm rot="16200000">
            <a:off x="-1104299" y="5220150"/>
            <a:ext cx="2732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95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D43B81-3D61-4E55-AEE0-1C8B95537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9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D43B81-3D61-4E55-AEE0-1C8B95537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390823-A05B-4048-A667-3A8C72DB22D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28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4051762"/>
            <a:ext cx="11161444" cy="1563226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5557838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4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745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0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2980196"/>
            <a:ext cx="11161445" cy="1563226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4600576"/>
            <a:ext cx="11161445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4" y="6178335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7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4163593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5661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59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1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021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7813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079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78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011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51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4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346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594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3" y="4051761"/>
            <a:ext cx="11161444" cy="1563227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3" y="5557839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5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31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430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4" y="2980196"/>
            <a:ext cx="11161444" cy="1563227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4" y="4600577"/>
            <a:ext cx="11161444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5" y="6178336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8"/>
            <a:ext cx="170431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388145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171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7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991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2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178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3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10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4" y="1356901"/>
            <a:ext cx="5577812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868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3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2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37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540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15B186-0FE0-4525-B897-98C10CFAF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4780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0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15B186-0FE0-4525-B897-98C10CFAF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612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7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90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2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84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570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</p:spTree>
    <p:extLst>
      <p:ext uri="{BB962C8B-B14F-4D97-AF65-F5344CB8AC3E}">
        <p14:creationId xmlns:p14="http://schemas.microsoft.com/office/powerpoint/2010/main" val="3402406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 &amp; I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6200000">
            <a:off x="-865379" y="5459136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RECOVERY &amp; INTEGRATION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1176819" y="5147695"/>
            <a:ext cx="287717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RECOVERY &amp; INTEGRATION</a:t>
            </a:r>
          </a:p>
        </p:txBody>
      </p:sp>
    </p:spTree>
    <p:extLst>
      <p:ext uri="{BB962C8B-B14F-4D97-AF65-F5344CB8AC3E}">
        <p14:creationId xmlns:p14="http://schemas.microsoft.com/office/powerpoint/2010/main" val="2193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grity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INTEGRITY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INTEGRITY</a:t>
            </a:r>
          </a:p>
        </p:txBody>
      </p:sp>
    </p:spTree>
    <p:extLst>
      <p:ext uri="{BB962C8B-B14F-4D97-AF65-F5344CB8AC3E}">
        <p14:creationId xmlns:p14="http://schemas.microsoft.com/office/powerpoint/2010/main" val="156874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0879" y="1755778"/>
            <a:ext cx="11250247" cy="1470025"/>
          </a:xfrm>
        </p:spPr>
        <p:txBody>
          <a:bodyPr anchor="b"/>
          <a:lstStyle>
            <a:lvl1pPr>
              <a:defRPr sz="3871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879" y="3520440"/>
            <a:ext cx="11250247" cy="1752600"/>
          </a:xfrm>
        </p:spPr>
        <p:txBody>
          <a:bodyPr/>
          <a:lstStyle>
            <a:lvl1pPr marL="0" indent="0" algn="l">
              <a:spcBef>
                <a:spcPts val="553"/>
              </a:spcBef>
              <a:buNone/>
              <a:defRPr>
                <a:solidFill>
                  <a:schemeClr val="tx1"/>
                </a:solidFill>
              </a:defRPr>
            </a:lvl1pPr>
            <a:lvl2pPr marL="42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2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5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7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8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0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1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7045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0879" y="1755778"/>
            <a:ext cx="11250247" cy="1470025"/>
          </a:xfrm>
        </p:spPr>
        <p:txBody>
          <a:bodyPr anchor="b"/>
          <a:lstStyle>
            <a:lvl1pPr>
              <a:defRPr sz="3871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879" y="3520440"/>
            <a:ext cx="11250247" cy="1752600"/>
          </a:xfrm>
        </p:spPr>
        <p:txBody>
          <a:bodyPr/>
          <a:lstStyle>
            <a:lvl1pPr marL="0" indent="0" algn="l">
              <a:spcBef>
                <a:spcPts val="553"/>
              </a:spcBef>
              <a:buNone/>
              <a:defRPr>
                <a:solidFill>
                  <a:schemeClr val="tx1"/>
                </a:solidFill>
              </a:defRPr>
            </a:lvl1pPr>
            <a:lvl2pPr marL="42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2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5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7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8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0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1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957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435"/>
          <a:ext cx="1556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435"/>
                        <a:ext cx="1556" cy="14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68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Multi Later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133798" y="3128918"/>
            <a:ext cx="7924405" cy="646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3599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3599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3599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rgbClr val="7567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rgbClr val="1D4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593204" y="4307421"/>
            <a:ext cx="719906" cy="126000"/>
          </a:xfrm>
          <a:prstGeom prst="rect">
            <a:avLst/>
          </a:prstGeom>
          <a:solidFill>
            <a:srgbClr val="A2C1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790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7813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9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47"/>
          <p:cNvSpPr/>
          <p:nvPr userDrawn="1"/>
        </p:nvSpPr>
        <p:spPr>
          <a:xfrm>
            <a:off x="0" y="0"/>
            <a:ext cx="56547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Aft>
                <a:spcPts val="600"/>
              </a:spcAft>
            </a:pPr>
            <a:endParaRPr lang="en-US" sz="14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2350318" y="3366627"/>
            <a:ext cx="52821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CONVENTIONAL COMPLETIONS 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65D7E0C-C1C6-4F61-9FE1-9CD2E1C055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091" y="1825625"/>
            <a:ext cx="10515818" cy="4351338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800">
                <a:latin typeface="+mj-lt"/>
              </a:defRPr>
            </a:lvl1pPr>
            <a:lvl2pPr marL="685800" indent="-228600">
              <a:buFont typeface="Wingdings" panose="05000000000000000000" pitchFamily="2" charset="2"/>
              <a:buChar char="§"/>
              <a:defRPr sz="2400">
                <a:latin typeface="+mj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92C45DB-A55A-4B97-AF5A-00919AC0D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</p:spPr>
        <p:txBody>
          <a:bodyPr>
            <a:normAutofit/>
          </a:bodyPr>
          <a:lstStyle>
            <a:lvl1pPr>
              <a:defRPr sz="44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405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igh Volume Block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rot="16200000">
            <a:off x="-865380" y="5459070"/>
            <a:ext cx="2254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4211"/>
            <a:r>
              <a:rPr lang="en-US" sz="1600" dirty="0">
                <a:solidFill>
                  <a:prstClr val="white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6" name="TextBox 5"/>
          <p:cNvSpPr txBox="1"/>
          <p:nvPr userDrawn="1"/>
        </p:nvSpPr>
        <p:spPr>
          <a:xfrm rot="16200000">
            <a:off x="-1104299" y="5220150"/>
            <a:ext cx="2732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1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43" y="238543"/>
            <a:ext cx="11543103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4043" y="854994"/>
            <a:ext cx="11543103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23.01.2020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7561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2428234" y="1447800"/>
            <a:ext cx="7335538" cy="3962400"/>
          </a:xfrm>
          <a:prstGeom prst="rect">
            <a:avLst/>
          </a:prstGeom>
          <a:noFill/>
          <a:ln w="19050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>
            <a:lvl1pPr marL="168280" indent="-168280" algn="l" rtl="0" eaLnBrk="1" fontAlgn="base" hangingPunct="1">
              <a:spcBef>
                <a:spcPts val="1084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umimoji="1" lang="en-US" sz="1659" b="1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329242" indent="-160963"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buFont typeface="Arial Narrow" panose="020B0606020202030204" pitchFamily="34" charset="0"/>
              <a:buChar char="–"/>
              <a:defRPr kumimoji="1" lang="en-US" sz="1659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493132" indent="-168280"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baseline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en-US"/>
              <a:t>First Section Header (All Initial-Caps)</a:t>
            </a:r>
          </a:p>
          <a:p>
            <a:pPr lvl="1"/>
            <a:r>
              <a:rPr lang="en-US"/>
              <a:t>First Sub-Section Header</a:t>
            </a:r>
          </a:p>
          <a:p>
            <a:pPr lvl="2"/>
            <a:r>
              <a:rPr lang="en-US"/>
              <a:t>Second Sub-Section Header</a:t>
            </a:r>
          </a:p>
          <a:p>
            <a:pPr>
              <a:spcBef>
                <a:spcPts val="1200"/>
              </a:spcBef>
            </a:pPr>
            <a:r>
              <a:rPr lang="en-US"/>
              <a:t>Second Section Header (All Initial-Caps)</a:t>
            </a:r>
          </a:p>
          <a:p>
            <a:pPr lvl="1"/>
            <a:r>
              <a:rPr lang="en-US"/>
              <a:t>Second Sub-Section Header</a:t>
            </a:r>
          </a:p>
          <a:p>
            <a:pPr lvl="2"/>
            <a:r>
              <a:rPr lang="en-US"/>
              <a:t>Second Sub-Section Head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5" y="301014"/>
            <a:ext cx="10838316" cy="577294"/>
          </a:xfrm>
          <a:prstGeom prst="rect">
            <a:avLst/>
          </a:prstGeom>
          <a:noFill/>
        </p:spPr>
        <p:txBody>
          <a:bodyPr lIns="0" tIns="0" rIns="45720" bIns="0" anchor="b"/>
          <a:lstStyle>
            <a:lvl1pPr marL="0" marR="0" indent="0" defTabSz="8428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sz="2949" baseline="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defTabSz="8428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en-US"/>
              <a:t>Arial sentence-cap @ size 20 and left-aligned with max of 2 lines</a:t>
            </a:r>
            <a:endParaRPr kumimoji="1" lang="en-US" sz="1843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911228"/>
            <a:ext cx="10837862" cy="420688"/>
          </a:xfrm>
          <a:prstGeom prst="rect">
            <a:avLst/>
          </a:prstGeom>
        </p:spPr>
        <p:txBody>
          <a:bodyPr lIns="0" tIns="36000" rIns="36000" bIns="36000" anchor="ctr"/>
          <a:lstStyle>
            <a:lvl1pPr marL="0" indent="0">
              <a:buNone/>
              <a:defRPr lang="en-US" sz="1659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>
              <a:defRPr lang="en-US" sz="1659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>
              <a:defRPr lang="en-US" sz="1659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>
              <a:defRPr lang="en-US" sz="1659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SUB TITL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2552701" y="6259516"/>
            <a:ext cx="530133" cy="365125"/>
          </a:xfrm>
          <a:prstGeom prst="rect">
            <a:avLst/>
          </a:prstGeom>
        </p:spPr>
        <p:txBody>
          <a:bodyPr lIns="0" anchor="ctr"/>
          <a:lstStyle>
            <a:lvl1pPr>
              <a:defRPr sz="922">
                <a:latin typeface="Arial Narrow" panose="020B0606020202030204" pitchFamily="34" charset="0"/>
              </a:defRPr>
            </a:lvl1pPr>
          </a:lstStyle>
          <a:p>
            <a:fld id="{F134D20A-66C2-4DA6-9870-7AFADA4C11B9}" type="slidenum">
              <a:rPr kumimoji="0"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0"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62068" y="6259516"/>
            <a:ext cx="6691597" cy="365125"/>
          </a:xfrm>
          <a:prstGeom prst="rect">
            <a:avLst/>
          </a:prstGeom>
        </p:spPr>
        <p:txBody>
          <a:bodyPr lIns="0" anchor="ctr"/>
          <a:lstStyle>
            <a:lvl1pPr marL="0" indent="0" defTabSz="247298">
              <a:buNone/>
              <a:defRPr sz="922">
                <a:latin typeface="Arial Narrow" panose="020B0606020202030204" pitchFamily="34" charset="0"/>
              </a:defRPr>
            </a:lvl1pPr>
            <a:lvl2pPr marL="421430" indent="0">
              <a:buNone/>
              <a:defRPr sz="1106">
                <a:latin typeface="Arial Narrow" panose="020B0606020202030204" pitchFamily="34" charset="0"/>
              </a:defRPr>
            </a:lvl2pPr>
            <a:lvl3pPr marL="842859" indent="0">
              <a:buNone/>
              <a:defRPr sz="1106">
                <a:latin typeface="Arial Narrow" panose="020B0606020202030204" pitchFamily="34" charset="0"/>
              </a:defRPr>
            </a:lvl3pPr>
            <a:lvl4pPr marL="1264289" indent="0">
              <a:buNone/>
              <a:defRPr sz="1106">
                <a:latin typeface="Arial Narrow" panose="020B0606020202030204" pitchFamily="34" charset="0"/>
              </a:defRPr>
            </a:lvl4pPr>
            <a:lvl5pPr marL="1685719" indent="0">
              <a:buNone/>
              <a:defRPr sz="1106"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Source:	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22315" y="911225"/>
            <a:ext cx="1020954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7255761-E131-457B-9D42-0BF91EFC61D3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865277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48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976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1.xml"/><Relationship Id="rId16" Type="http://schemas.openxmlformats.org/officeDocument/2006/relationships/vmlDrawing" Target="../drawings/vmlDrawing4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vmlDrawing" Target="../drawings/vmlDrawing7.vml"/><Relationship Id="rId7" Type="http://schemas.openxmlformats.org/officeDocument/2006/relationships/oleObject" Target="../embeddings/oleObject4.bin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0.png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52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9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66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0.png"/><Relationship Id="rId4" Type="http://schemas.openxmlformats.org/officeDocument/2006/relationships/tags" Target="../tags/tag1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heme" Target="../theme/theme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10.png"/><Relationship Id="rId5" Type="http://schemas.openxmlformats.org/officeDocument/2006/relationships/tags" Target="../tags/tag12.xml"/><Relationship Id="rId4" Type="http://schemas.openxmlformats.org/officeDocument/2006/relationships/vmlDrawing" Target="../drawings/vmlDrawing1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080487-BF35-41D8-AD43-2C5FE8BA2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649108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3" name="think-cell Slide" r:id="rId17" imgW="530" imgH="531" progId="TCLayout.ActiveDocument.1">
                  <p:embed/>
                </p:oleObj>
              </mc:Choice>
              <mc:Fallback>
                <p:oleObj name="think-cell Slide" r:id="rId17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080487-BF35-41D8-AD43-2C5FE8BA2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3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2" y="1348196"/>
            <a:ext cx="11161445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442744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2" y="6223821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DDFFEC1C-6E51-43F2-9703-46700FB1CBEB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6D01B4-A553-43A3-93F2-27CDEACB9D57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048808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768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000">
          <a:solidFill>
            <a:srgbClr val="000000"/>
          </a:solidFill>
          <a:latin typeface="+mn-lt"/>
          <a:ea typeface="+mn-ea"/>
          <a:cs typeface="+mn-cs"/>
        </a:defRPr>
      </a:lvl1pPr>
      <a:lvl2pPr marL="342900" indent="-341313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000">
          <a:solidFill>
            <a:srgbClr val="000000"/>
          </a:solidFill>
          <a:latin typeface="+mn-lt"/>
        </a:defRPr>
      </a:lvl2pPr>
      <a:lvl3pPr marL="685800" indent="-341313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000">
          <a:solidFill>
            <a:srgbClr val="000000"/>
          </a:solidFill>
          <a:latin typeface="+mn-lt"/>
        </a:defRPr>
      </a:lvl3pPr>
      <a:lvl4pPr marL="1028700" indent="-341313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1800">
          <a:solidFill>
            <a:srgbClr val="000000"/>
          </a:solidFill>
          <a:latin typeface="+mn-lt"/>
        </a:defRPr>
      </a:lvl4pPr>
      <a:lvl5pPr marL="1371600" indent="-341313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1600">
          <a:solidFill>
            <a:srgbClr val="000000"/>
          </a:solidFill>
          <a:latin typeface="+mn-lt"/>
        </a:defRPr>
      </a:lvl5pPr>
      <a:lvl6pPr marL="18288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60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2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4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5625"/>
            <a:ext cx="10515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6350"/>
            <a:ext cx="2743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51E62968-B039-40B5-ADF4-CD61E65759C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1/23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68" y="6356350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73" y="6356350"/>
            <a:ext cx="2743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DB7E9BD4-CEE2-492B-ABC6-A777FBD328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ightsWATCH-Watermark-Text-1234567890"/>
          <p:cNvSpPr txBox="1"/>
          <p:nvPr userDrawn="1"/>
        </p:nvSpPr>
        <p:spPr>
          <a:xfrm rot="5400000">
            <a:off x="5911334" y="3336667"/>
            <a:ext cx="12192000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8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B6E12CFE-2024-4F1B-9F91-103B3C2DE49F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ADA639-0377-4F4C-BD62-E794C9E7BAA7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543384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109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77" indent="-114277" algn="l" defTabSz="4571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386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99940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494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049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603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157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71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5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09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63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217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771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326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88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43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5625"/>
            <a:ext cx="10515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6350"/>
            <a:ext cx="2743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51E62968-B039-40B5-ADF4-CD61E65759C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1/23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68" y="6356350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73" y="6356350"/>
            <a:ext cx="2743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DB7E9BD4-CEE2-492B-ABC6-A777FBD328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ightsWATCH-Watermark-Text-1234567890"/>
          <p:cNvSpPr txBox="1"/>
          <p:nvPr userDrawn="1"/>
        </p:nvSpPr>
        <p:spPr>
          <a:xfrm rot="5400000">
            <a:off x="5911334" y="3336667"/>
            <a:ext cx="12192000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7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0307C7A-31F6-4D74-A5E9-CFA7B1F1E9AA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563FF4-BEFC-425D-B932-8DC18CC9E3AE}"/>
              </a:ext>
            </a:extLst>
          </p:cNvPr>
          <p:cNvSpPr txBox="1"/>
          <p:nvPr userDrawn="1"/>
        </p:nvSpPr>
        <p:spPr>
          <a:xfrm>
            <a:off x="26344" y="6476214"/>
            <a:ext cx="3994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97564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757" r:id="rId4"/>
    <p:sldLayoutId id="2147483758" r:id="rId5"/>
    <p:sldLayoutId id="2147483759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109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77" indent="-114277" algn="l" defTabSz="4571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386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99940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494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049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603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157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71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5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09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63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217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771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326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88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43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080487-BF35-41D8-AD43-2C5FE8BA2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32" name="think-cell Slide" r:id="rId18" imgW="530" imgH="531" progId="TCLayout.ActiveDocument.1">
                  <p:embed/>
                </p:oleObj>
              </mc:Choice>
              <mc:Fallback>
                <p:oleObj name="think-cell Slide" r:id="rId18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080487-BF35-41D8-AD43-2C5FE8BA2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3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2" y="1348196"/>
            <a:ext cx="11161445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0442744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2" y="6223821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D01A5602-4F25-4933-BF2E-31B5AED202DA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400A28-4BA3-4705-8542-B55825B5353E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190676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760" r:id="rId13"/>
    <p:sldLayoutId id="2147483765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800">
          <a:solidFill>
            <a:srgbClr val="000000"/>
          </a:solidFill>
          <a:latin typeface="+mn-lt"/>
          <a:ea typeface="+mn-ea"/>
          <a:cs typeface="+mn-cs"/>
        </a:defRPr>
      </a:lvl1pPr>
      <a:lvl2pPr marL="342900" indent="-341313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800">
          <a:solidFill>
            <a:srgbClr val="000000"/>
          </a:solidFill>
          <a:latin typeface="+mn-lt"/>
        </a:defRPr>
      </a:lvl2pPr>
      <a:lvl3pPr marL="685800" indent="-341313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600">
          <a:solidFill>
            <a:srgbClr val="000000"/>
          </a:solidFill>
          <a:latin typeface="+mn-lt"/>
        </a:defRPr>
      </a:lvl3pPr>
      <a:lvl4pPr marL="1028700" indent="-341313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2400">
          <a:solidFill>
            <a:srgbClr val="000000"/>
          </a:solidFill>
          <a:latin typeface="+mn-lt"/>
        </a:defRPr>
      </a:lvl4pPr>
      <a:lvl5pPr marL="1371600" indent="-341313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000">
          <a:solidFill>
            <a:srgbClr val="000000"/>
          </a:solidFill>
          <a:latin typeface="+mn-lt"/>
        </a:defRPr>
      </a:lvl5pPr>
      <a:lvl6pPr marL="18288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60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2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4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7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632E9F-E2AE-4B59-AD3D-49732E88DFF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5629" cy="1434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</a:pPr>
            <a:endParaRPr lang="en-US" sz="2949" b="0" i="0" baseline="0" dirty="0">
              <a:latin typeface="Arial Narrow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469900" y="261938"/>
            <a:ext cx="11252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9900" y="1646240"/>
            <a:ext cx="11252200" cy="420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50DAB926-BD4F-4A2F-B03F-5366F51D5802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</p:spTree>
    <p:extLst>
      <p:ext uri="{BB962C8B-B14F-4D97-AF65-F5344CB8AC3E}">
        <p14:creationId xmlns:p14="http://schemas.microsoft.com/office/powerpoint/2010/main" val="17721132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2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49" kern="1200">
          <a:solidFill>
            <a:schemeClr val="tx2"/>
          </a:solidFill>
          <a:latin typeface="Arial Narrow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5pPr>
      <a:lvl6pPr marL="421430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6pPr>
      <a:lvl7pPr marL="84285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7pPr>
      <a:lvl8pPr marL="126428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8pPr>
      <a:lvl9pPr marL="168571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9pPr>
    </p:titleStyle>
    <p:bodyStyle>
      <a:lvl1pPr marL="316072" indent="-316072" algn="l" rtl="0" eaLnBrk="0" fontAlgn="base" hangingPunct="0">
        <a:spcBef>
          <a:spcPts val="553"/>
        </a:spcBef>
        <a:spcAft>
          <a:spcPct val="0"/>
        </a:spcAft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320463" indent="-320463" algn="l" rtl="0" eaLnBrk="0" fontAlgn="base" hangingPunct="0">
        <a:spcBef>
          <a:spcPts val="922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"/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632145" indent="-311683" algn="l" rtl="0" eaLnBrk="0" fontAlgn="base" hangingPunct="0">
        <a:spcBef>
          <a:spcPts val="461"/>
        </a:spcBef>
        <a:spcAft>
          <a:spcPct val="0"/>
        </a:spcAft>
        <a:buFont typeface="Arial Narrow" panose="020B0606020202030204" pitchFamily="34" charset="0"/>
        <a:buChar char="–"/>
        <a:defRPr sz="2396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952608" indent="-320463" algn="l" rtl="0" eaLnBrk="0" fontAlgn="base" hangingPunct="0">
        <a:spcBef>
          <a:spcPts val="23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212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264289" indent="-311683" algn="l" rtl="0" eaLnBrk="0" fontAlgn="base" hangingPunct="0">
        <a:spcBef>
          <a:spcPts val="116"/>
        </a:spcBef>
        <a:spcAft>
          <a:spcPct val="0"/>
        </a:spcAft>
        <a:buFont typeface="Arial Narrow" panose="020B0606020202030204" pitchFamily="34" charset="0"/>
        <a:buChar char="–"/>
        <a:defRPr sz="1843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31786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6pPr>
      <a:lvl7pPr marL="273929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7pPr>
      <a:lvl8pPr marL="316072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8pPr>
      <a:lvl9pPr marL="358215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1pPr>
      <a:lvl2pPr marL="42143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2pPr>
      <a:lvl3pPr marL="84285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3pPr>
      <a:lvl4pPr marL="126428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4pPr>
      <a:lvl5pPr marL="168571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5pPr>
      <a:lvl6pPr marL="210714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6pPr>
      <a:lvl7pPr marL="252857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7pPr>
      <a:lvl8pPr marL="295000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8pPr>
      <a:lvl9pPr marL="337143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5625"/>
            <a:ext cx="10515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6350"/>
            <a:ext cx="2743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51E62968-B039-40B5-ADF4-CD61E65759C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1/23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68" y="6356350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73" y="6356350"/>
            <a:ext cx="2743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DB7E9BD4-CEE2-492B-ABC6-A777FBD328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ightsWATCH-Watermark-Text-1234567890"/>
          <p:cNvSpPr txBox="1"/>
          <p:nvPr userDrawn="1"/>
        </p:nvSpPr>
        <p:spPr>
          <a:xfrm rot="5400000">
            <a:off x="5911334" y="3336667"/>
            <a:ext cx="12192000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8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167E8AB-603E-4A6C-86C1-D0B2A66082BD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</p:spTree>
    <p:extLst>
      <p:ext uri="{BB962C8B-B14F-4D97-AF65-F5344CB8AC3E}">
        <p14:creationId xmlns:p14="http://schemas.microsoft.com/office/powerpoint/2010/main" val="775059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109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77" indent="-114277" algn="l" defTabSz="4571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386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99940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494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049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603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157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71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5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09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63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217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771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326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88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43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3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2" y="1348196"/>
            <a:ext cx="11161445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442744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2" y="6223821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2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26A6BBA8-56F2-4579-874A-1B065B8886C3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00CABA-227C-4B36-863B-B0B19A05A3A1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197673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800">
          <a:solidFill>
            <a:srgbClr val="000000"/>
          </a:solidFill>
          <a:latin typeface="+mn-lt"/>
          <a:ea typeface="+mn-ea"/>
          <a:cs typeface="+mn-cs"/>
        </a:defRPr>
      </a:lvl1pPr>
      <a:lvl2pPr marL="342900" indent="-341313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800">
          <a:solidFill>
            <a:srgbClr val="000000"/>
          </a:solidFill>
          <a:latin typeface="+mn-lt"/>
        </a:defRPr>
      </a:lvl2pPr>
      <a:lvl3pPr marL="685800" indent="-341313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600">
          <a:solidFill>
            <a:srgbClr val="000000"/>
          </a:solidFill>
          <a:latin typeface="+mn-lt"/>
        </a:defRPr>
      </a:lvl3pPr>
      <a:lvl4pPr marL="1028700" indent="-341313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2400">
          <a:solidFill>
            <a:srgbClr val="000000"/>
          </a:solidFill>
          <a:latin typeface="+mn-lt"/>
        </a:defRPr>
      </a:lvl4pPr>
      <a:lvl5pPr marL="1371600" indent="-341313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000">
          <a:solidFill>
            <a:srgbClr val="000000"/>
          </a:solidFill>
          <a:latin typeface="+mn-lt"/>
        </a:defRPr>
      </a:lvl5pPr>
      <a:lvl6pPr marL="18288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60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2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4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4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4" y="1348196"/>
            <a:ext cx="11161444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442745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3" y="6223822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2" name="RightsWATCH-Watermark-Text-1234567890">
            <a:extLst>
              <a:ext uri="{FF2B5EF4-FFF2-40B4-BE49-F238E27FC236}">
                <a16:creationId xmlns:a16="http://schemas.microsoft.com/office/drawing/2014/main" id="{BBC5D962-EDAA-44D9-B427-BAEC814D23C5}"/>
              </a:ext>
            </a:extLst>
          </p:cNvPr>
          <p:cNvSpPr txBox="1"/>
          <p:nvPr userDrawn="1"/>
        </p:nvSpPr>
        <p:spPr>
          <a:xfrm rot="5400000">
            <a:off x="5912876" y="3336668"/>
            <a:ext cx="12188825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GB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F2F637B-D7E1-4788-A8E9-0450583E9AC2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88747A-A39F-4057-A73D-046DD002E9D4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387890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400">
          <a:solidFill>
            <a:srgbClr val="000000"/>
          </a:solidFill>
          <a:latin typeface="+mn-lt"/>
          <a:ea typeface="+mn-ea"/>
          <a:cs typeface="+mn-cs"/>
        </a:defRPr>
      </a:lvl1pPr>
      <a:lvl2pPr marL="342891" indent="-341305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400">
          <a:solidFill>
            <a:srgbClr val="000000"/>
          </a:solidFill>
          <a:latin typeface="+mn-lt"/>
        </a:defRPr>
      </a:lvl2pPr>
      <a:lvl3pPr marL="685783" indent="-341305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400">
          <a:solidFill>
            <a:srgbClr val="000000"/>
          </a:solidFill>
          <a:latin typeface="+mn-lt"/>
        </a:defRPr>
      </a:lvl3pPr>
      <a:lvl4pPr marL="1028674" indent="-341305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2000">
          <a:solidFill>
            <a:srgbClr val="000000"/>
          </a:solidFill>
          <a:latin typeface="+mn-lt"/>
        </a:defRPr>
      </a:lvl4pPr>
      <a:lvl5pPr marL="1371566" indent="-341305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1800">
          <a:solidFill>
            <a:srgbClr val="000000"/>
          </a:solidFill>
          <a:latin typeface="+mn-lt"/>
        </a:defRPr>
      </a:lvl5pPr>
      <a:lvl6pPr marL="1828754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5943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131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320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469900" y="261938"/>
            <a:ext cx="11252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9900" y="1646240"/>
            <a:ext cx="11252200" cy="420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07D2FEB6-7EA0-4240-80A7-F92AC60B21DF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28CEF0-9C8C-490D-8273-C361DE6D6270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9692100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49" kern="1200">
          <a:solidFill>
            <a:schemeClr val="tx2"/>
          </a:solidFill>
          <a:latin typeface="Arial Narrow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5pPr>
      <a:lvl6pPr marL="421430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6pPr>
      <a:lvl7pPr marL="84285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7pPr>
      <a:lvl8pPr marL="126428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8pPr>
      <a:lvl9pPr marL="168571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9pPr>
    </p:titleStyle>
    <p:bodyStyle>
      <a:lvl1pPr marL="316072" indent="-316072" algn="l" rtl="0" eaLnBrk="0" fontAlgn="base" hangingPunct="0">
        <a:spcBef>
          <a:spcPts val="553"/>
        </a:spcBef>
        <a:spcAft>
          <a:spcPct val="0"/>
        </a:spcAft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320463" indent="-320463" algn="l" rtl="0" eaLnBrk="0" fontAlgn="base" hangingPunct="0">
        <a:spcBef>
          <a:spcPts val="922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"/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632145" indent="-311683" algn="l" rtl="0" eaLnBrk="0" fontAlgn="base" hangingPunct="0">
        <a:spcBef>
          <a:spcPts val="461"/>
        </a:spcBef>
        <a:spcAft>
          <a:spcPct val="0"/>
        </a:spcAft>
        <a:buFont typeface="Arial Narrow" panose="020B0606020202030204" pitchFamily="34" charset="0"/>
        <a:buChar char="–"/>
        <a:defRPr sz="2396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952608" indent="-320463" algn="l" rtl="0" eaLnBrk="0" fontAlgn="base" hangingPunct="0">
        <a:spcBef>
          <a:spcPts val="23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212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264289" indent="-311683" algn="l" rtl="0" eaLnBrk="0" fontAlgn="base" hangingPunct="0">
        <a:spcBef>
          <a:spcPts val="116"/>
        </a:spcBef>
        <a:spcAft>
          <a:spcPct val="0"/>
        </a:spcAft>
        <a:buFont typeface="Arial Narrow" panose="020B0606020202030204" pitchFamily="34" charset="0"/>
        <a:buChar char="–"/>
        <a:defRPr sz="1843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31786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6pPr>
      <a:lvl7pPr marL="273929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7pPr>
      <a:lvl8pPr marL="316072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8pPr>
      <a:lvl9pPr marL="358215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1pPr>
      <a:lvl2pPr marL="42143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2pPr>
      <a:lvl3pPr marL="84285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3pPr>
      <a:lvl4pPr marL="126428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4pPr>
      <a:lvl5pPr marL="168571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5pPr>
      <a:lvl6pPr marL="210714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6pPr>
      <a:lvl7pPr marL="252857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7pPr>
      <a:lvl8pPr marL="295000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8pPr>
      <a:lvl9pPr marL="337143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4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469900" y="261938"/>
            <a:ext cx="11252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9900" y="1646240"/>
            <a:ext cx="11252200" cy="420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AB55B6D1-5B0F-4103-A2D3-1EC1F8184F7D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227B01-137C-425B-9978-6996F8EB0834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8293795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4" r:id="rId1"/>
    <p:sldLayoutId id="214748374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49" kern="1200">
          <a:solidFill>
            <a:schemeClr val="tx2"/>
          </a:solidFill>
          <a:latin typeface="Arial Narrow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5pPr>
      <a:lvl6pPr marL="421430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6pPr>
      <a:lvl7pPr marL="84285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7pPr>
      <a:lvl8pPr marL="126428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8pPr>
      <a:lvl9pPr marL="168571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9pPr>
    </p:titleStyle>
    <p:bodyStyle>
      <a:lvl1pPr marL="316072" indent="-316072" algn="l" rtl="0" eaLnBrk="0" fontAlgn="base" hangingPunct="0">
        <a:spcBef>
          <a:spcPts val="553"/>
        </a:spcBef>
        <a:spcAft>
          <a:spcPct val="0"/>
        </a:spcAft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320463" indent="-320463" algn="l" rtl="0" eaLnBrk="0" fontAlgn="base" hangingPunct="0">
        <a:spcBef>
          <a:spcPts val="922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"/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632145" indent="-311683" algn="l" rtl="0" eaLnBrk="0" fontAlgn="base" hangingPunct="0">
        <a:spcBef>
          <a:spcPts val="461"/>
        </a:spcBef>
        <a:spcAft>
          <a:spcPct val="0"/>
        </a:spcAft>
        <a:buFont typeface="Arial Narrow" panose="020B0606020202030204" pitchFamily="34" charset="0"/>
        <a:buChar char="–"/>
        <a:defRPr sz="2396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952608" indent="-320463" algn="l" rtl="0" eaLnBrk="0" fontAlgn="base" hangingPunct="0">
        <a:spcBef>
          <a:spcPts val="23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212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264289" indent="-311683" algn="l" rtl="0" eaLnBrk="0" fontAlgn="base" hangingPunct="0">
        <a:spcBef>
          <a:spcPts val="116"/>
        </a:spcBef>
        <a:spcAft>
          <a:spcPct val="0"/>
        </a:spcAft>
        <a:buFont typeface="Arial Narrow" panose="020B0606020202030204" pitchFamily="34" charset="0"/>
        <a:buChar char="–"/>
        <a:defRPr sz="1843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31786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6pPr>
      <a:lvl7pPr marL="273929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7pPr>
      <a:lvl8pPr marL="316072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8pPr>
      <a:lvl9pPr marL="358215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1pPr>
      <a:lvl2pPr marL="42143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2pPr>
      <a:lvl3pPr marL="84285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3pPr>
      <a:lvl4pPr marL="126428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4pPr>
      <a:lvl5pPr marL="168571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5pPr>
      <a:lvl6pPr marL="210714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6pPr>
      <a:lvl7pPr marL="252857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7pPr>
      <a:lvl8pPr marL="295000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8pPr>
      <a:lvl9pPr marL="337143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1A36A4-E5E1-4F74-8859-A2DB73E4F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Bullhead @ 100gpm Pump rate: </a:t>
            </a:r>
            <a:br>
              <a:rPr lang="en-US" dirty="0"/>
            </a:br>
            <a:r>
              <a:rPr lang="en-US" dirty="0"/>
              <a:t>Frequency band: 0 – 5000 Hz (Summation of all acoustic source energy in all the different frequency band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DD96C54-6901-4119-9198-AC4FBD7439A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20693" y="1347788"/>
            <a:ext cx="7552201" cy="45037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20278B-BF1C-462E-8FE7-0A91EC6E4C6D}"/>
              </a:ext>
            </a:extLst>
          </p:cNvPr>
          <p:cNvSpPr txBox="1"/>
          <p:nvPr/>
        </p:nvSpPr>
        <p:spPr>
          <a:xfrm>
            <a:off x="2407298" y="6186196"/>
            <a:ext cx="2789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0612400 </a:t>
            </a:r>
          </a:p>
        </p:txBody>
      </p:sp>
    </p:spTree>
    <p:extLst>
      <p:ext uri="{BB962C8B-B14F-4D97-AF65-F5344CB8AC3E}">
        <p14:creationId xmlns:p14="http://schemas.microsoft.com/office/powerpoint/2010/main" val="202269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C03FD-30DF-4794-B3F7-8435EC9E1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Bullhead @ 100gpm Pump rate: </a:t>
            </a:r>
            <a:br>
              <a:rPr lang="en-US" dirty="0"/>
            </a:br>
            <a:r>
              <a:rPr lang="en-US" dirty="0"/>
              <a:t>Frequency band: 2 – 10 Hz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867C828-E21B-4A47-9014-7C9D9FF719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03170" y="1347788"/>
            <a:ext cx="7587247" cy="45037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0452DFC-0C67-4B44-BBF9-450C28AF4FAA}"/>
              </a:ext>
            </a:extLst>
          </p:cNvPr>
          <p:cNvSpPr txBox="1"/>
          <p:nvPr/>
        </p:nvSpPr>
        <p:spPr>
          <a:xfrm>
            <a:off x="2407298" y="6186196"/>
            <a:ext cx="2789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0612400 </a:t>
            </a:r>
          </a:p>
        </p:txBody>
      </p:sp>
    </p:spTree>
    <p:extLst>
      <p:ext uri="{BB962C8B-B14F-4D97-AF65-F5344CB8AC3E}">
        <p14:creationId xmlns:p14="http://schemas.microsoft.com/office/powerpoint/2010/main" val="3108201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7415F1-4462-4A8A-B3AB-19F9BF658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Bullhead @ 100gpm Pump rate: </a:t>
            </a:r>
            <a:br>
              <a:rPr lang="en-US" dirty="0"/>
            </a:br>
            <a:r>
              <a:rPr lang="en-US" dirty="0"/>
              <a:t>Frequency band: 10 – 50 Hz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22CC109-5859-4278-9A40-5F9A39518A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06308" y="1347788"/>
            <a:ext cx="7580972" cy="45037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E718160-CD1D-4566-972B-04146B975E63}"/>
              </a:ext>
            </a:extLst>
          </p:cNvPr>
          <p:cNvSpPr txBox="1"/>
          <p:nvPr/>
        </p:nvSpPr>
        <p:spPr>
          <a:xfrm>
            <a:off x="2407298" y="6186196"/>
            <a:ext cx="2789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0612400 </a:t>
            </a:r>
          </a:p>
        </p:txBody>
      </p:sp>
    </p:spTree>
    <p:extLst>
      <p:ext uri="{BB962C8B-B14F-4D97-AF65-F5344CB8AC3E}">
        <p14:creationId xmlns:p14="http://schemas.microsoft.com/office/powerpoint/2010/main" val="391803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B43068-40AE-44C6-887B-820574D92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Bullhead @ 100gpm Pump rate: </a:t>
            </a:r>
            <a:br>
              <a:rPr lang="en-US" dirty="0"/>
            </a:br>
            <a:r>
              <a:rPr lang="en-US" dirty="0"/>
              <a:t>Frequency band: 50 – 200 Hz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5F54BAC-5E07-4223-95F5-73F9462208B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04676" y="1347788"/>
            <a:ext cx="7584235" cy="45037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3BAE947-285B-49E5-9B96-EA0BE8B3E000}"/>
              </a:ext>
            </a:extLst>
          </p:cNvPr>
          <p:cNvSpPr txBox="1"/>
          <p:nvPr/>
        </p:nvSpPr>
        <p:spPr>
          <a:xfrm>
            <a:off x="2407298" y="6186196"/>
            <a:ext cx="4548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536775 (Max in this frequency) </a:t>
            </a:r>
          </a:p>
        </p:txBody>
      </p:sp>
    </p:spTree>
    <p:extLst>
      <p:ext uri="{BB962C8B-B14F-4D97-AF65-F5344CB8AC3E}">
        <p14:creationId xmlns:p14="http://schemas.microsoft.com/office/powerpoint/2010/main" val="1600532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FD2639-8553-4C07-8BA3-2B2F88BBE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Bullhead @ 100gpm Pump rate: </a:t>
            </a:r>
            <a:br>
              <a:rPr lang="en-US" dirty="0"/>
            </a:br>
            <a:r>
              <a:rPr lang="en-US" dirty="0"/>
              <a:t>Frequency band: 200 – 500 Hz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15BDD0E-CCC2-4CD2-A6C5-9E229BA329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31840" y="1347788"/>
            <a:ext cx="7529907" cy="45037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C3CC957-B416-484E-B251-77239973F40D}"/>
              </a:ext>
            </a:extLst>
          </p:cNvPr>
          <p:cNvSpPr txBox="1"/>
          <p:nvPr/>
        </p:nvSpPr>
        <p:spPr>
          <a:xfrm>
            <a:off x="2407298" y="6186196"/>
            <a:ext cx="4548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39804 (Max in this frequency) </a:t>
            </a:r>
          </a:p>
        </p:txBody>
      </p:sp>
    </p:spTree>
    <p:extLst>
      <p:ext uri="{BB962C8B-B14F-4D97-AF65-F5344CB8AC3E}">
        <p14:creationId xmlns:p14="http://schemas.microsoft.com/office/powerpoint/2010/main" val="202081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B7E7E-5CEA-4B8B-A402-52232DE94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Bullhead @ 100gpm Pump rate: </a:t>
            </a:r>
            <a:br>
              <a:rPr lang="en-US" dirty="0"/>
            </a:br>
            <a:r>
              <a:rPr lang="en-US" dirty="0"/>
              <a:t>Frequency band: 500 – 1000 Hz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99D55AD-363F-48CB-94EB-E1054C6DCD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19082" y="1347788"/>
            <a:ext cx="7555423" cy="45037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6942F2B-3CC3-497F-A4EA-99F1EBC481B8}"/>
              </a:ext>
            </a:extLst>
          </p:cNvPr>
          <p:cNvSpPr txBox="1"/>
          <p:nvPr/>
        </p:nvSpPr>
        <p:spPr>
          <a:xfrm>
            <a:off x="2407298" y="6186196"/>
            <a:ext cx="4548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50848 (Max in this frequency) </a:t>
            </a:r>
          </a:p>
        </p:txBody>
      </p:sp>
    </p:spTree>
    <p:extLst>
      <p:ext uri="{BB962C8B-B14F-4D97-AF65-F5344CB8AC3E}">
        <p14:creationId xmlns:p14="http://schemas.microsoft.com/office/powerpoint/2010/main" val="18655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A1D6D5-4E09-4F8D-BDFE-3BB618E57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Bullhead @ 100gpm Pump rate: </a:t>
            </a:r>
            <a:br>
              <a:rPr lang="en-US" dirty="0"/>
            </a:br>
            <a:r>
              <a:rPr lang="en-US" dirty="0"/>
              <a:t>Frequency band: 1000 – 2500 Hz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D788147-5B16-4B3B-B162-BB3E9EF55C9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18235" y="1347788"/>
            <a:ext cx="7557118" cy="450373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9E817C7-8343-4269-B1B5-AC24C76CA8CB}"/>
              </a:ext>
            </a:extLst>
          </p:cNvPr>
          <p:cNvSpPr txBox="1"/>
          <p:nvPr/>
        </p:nvSpPr>
        <p:spPr>
          <a:xfrm>
            <a:off x="2407298" y="6186196"/>
            <a:ext cx="4548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36489 (Max in this frequency) </a:t>
            </a:r>
          </a:p>
        </p:txBody>
      </p:sp>
    </p:spTree>
    <p:extLst>
      <p:ext uri="{BB962C8B-B14F-4D97-AF65-F5344CB8AC3E}">
        <p14:creationId xmlns:p14="http://schemas.microsoft.com/office/powerpoint/2010/main" val="405314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A1D6D5-4E09-4F8D-BDFE-3BB618E57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Bullhead @ 100gpm Pump rate: </a:t>
            </a:r>
            <a:br>
              <a:rPr lang="en-US" dirty="0"/>
            </a:br>
            <a:r>
              <a:rPr lang="en-US" dirty="0"/>
              <a:t>Frequency band: 2500 – 5000 Hz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B86FA83-67F1-4623-9E1A-32B5A8DD9C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05553" y="1347788"/>
            <a:ext cx="7582482" cy="450373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9E817C7-8343-4269-B1B5-AC24C76CA8CB}"/>
              </a:ext>
            </a:extLst>
          </p:cNvPr>
          <p:cNvSpPr txBox="1"/>
          <p:nvPr/>
        </p:nvSpPr>
        <p:spPr>
          <a:xfrm>
            <a:off x="2407298" y="6186196"/>
            <a:ext cx="4548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20238 (Max in this frequency) </a:t>
            </a:r>
          </a:p>
        </p:txBody>
      </p:sp>
    </p:spTree>
    <p:extLst>
      <p:ext uri="{BB962C8B-B14F-4D97-AF65-F5344CB8AC3E}">
        <p14:creationId xmlns:p14="http://schemas.microsoft.com/office/powerpoint/2010/main" val="372764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L2L4qxS_m1xRvpevEeGQ"/>
</p:tagLst>
</file>

<file path=ppt/theme/theme1.xml><?xml version="1.0" encoding="utf-8"?>
<a:theme xmlns:a="http://schemas.openxmlformats.org/drawingml/2006/main" name="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templates" id="{0F02697A-79AC-4C43-A283-1D4C809AA5B5}" vid="{7C03E01D-13FE-4964-974F-2284917A56C5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templates" id="{0F02697A-79AC-4C43-A283-1D4C809AA5B5}" vid="{7C03E01D-13FE-4964-974F-2284917A56C5}"/>
    </a:ext>
  </a:extLst>
</a:theme>
</file>

<file path=ppt/theme/theme3.xml><?xml version="1.0" encoding="utf-8"?>
<a:theme xmlns:a="http://schemas.openxmlformats.org/drawingml/2006/main" name="1_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9_Support Platform">
  <a:themeElements>
    <a:clrScheme name="OFS colors light background">
      <a:dk1>
        <a:srgbClr val="FFFFFF"/>
      </a:dk1>
      <a:lt1>
        <a:srgbClr val="000000"/>
      </a:lt1>
      <a:dk2>
        <a:srgbClr val="007A54"/>
      </a:dk2>
      <a:lt2>
        <a:srgbClr val="003366"/>
      </a:lt2>
      <a:accent1>
        <a:srgbClr val="79BBD2"/>
      </a:accent1>
      <a:accent2>
        <a:srgbClr val="FC4128"/>
      </a:accent2>
      <a:accent3>
        <a:srgbClr val="FE9F34"/>
      </a:accent3>
      <a:accent4>
        <a:srgbClr val="81017E"/>
      </a:accent4>
      <a:accent5>
        <a:srgbClr val="007A54"/>
      </a:accent5>
      <a:accent6>
        <a:srgbClr val="003366"/>
      </a:accent6>
      <a:hlink>
        <a:srgbClr val="FE9F34"/>
      </a:hlink>
      <a:folHlink>
        <a:srgbClr val="81017E"/>
      </a:folHlink>
    </a:clrScheme>
    <a:fontScheme name="SI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2000" dirty="0" err="1" smtClean="0">
            <a:latin typeface="Arial Narrow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dirty="0" err="1" smtClean="0">
            <a:latin typeface="Arial Narrow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templates" id="{0F02697A-79AC-4C43-A283-1D4C809AA5B5}" vid="{7C03E01D-13FE-4964-974F-2284917A56C5}"/>
    </a:ext>
  </a:extLst>
</a:theme>
</file>

<file path=ppt/theme/theme6.xml><?xml version="1.0" encoding="utf-8"?>
<a:theme xmlns:a="http://schemas.openxmlformats.org/drawingml/2006/main" name="2_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Support Platform">
  <a:themeElements>
    <a:clrScheme name="OFS colors light background">
      <a:dk1>
        <a:srgbClr val="FFFFFF"/>
      </a:dk1>
      <a:lt1>
        <a:srgbClr val="000000"/>
      </a:lt1>
      <a:dk2>
        <a:srgbClr val="007A54"/>
      </a:dk2>
      <a:lt2>
        <a:srgbClr val="003366"/>
      </a:lt2>
      <a:accent1>
        <a:srgbClr val="79BBD2"/>
      </a:accent1>
      <a:accent2>
        <a:srgbClr val="FC4128"/>
      </a:accent2>
      <a:accent3>
        <a:srgbClr val="FE9F34"/>
      </a:accent3>
      <a:accent4>
        <a:srgbClr val="81017E"/>
      </a:accent4>
      <a:accent5>
        <a:srgbClr val="007A54"/>
      </a:accent5>
      <a:accent6>
        <a:srgbClr val="003366"/>
      </a:accent6>
      <a:hlink>
        <a:srgbClr val="FE9F34"/>
      </a:hlink>
      <a:folHlink>
        <a:srgbClr val="81017E"/>
      </a:folHlink>
    </a:clrScheme>
    <a:fontScheme name="SI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2000" dirty="0" err="1" smtClean="0">
            <a:latin typeface="Arial Narrow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dirty="0" err="1" smtClean="0">
            <a:latin typeface="Arial Narrow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27_Support Platform">
  <a:themeElements>
    <a:clrScheme name="OFS colors light background">
      <a:dk1>
        <a:srgbClr val="FFFFFF"/>
      </a:dk1>
      <a:lt1>
        <a:srgbClr val="000000"/>
      </a:lt1>
      <a:dk2>
        <a:srgbClr val="007A54"/>
      </a:dk2>
      <a:lt2>
        <a:srgbClr val="003366"/>
      </a:lt2>
      <a:accent1>
        <a:srgbClr val="79BBD2"/>
      </a:accent1>
      <a:accent2>
        <a:srgbClr val="FC4128"/>
      </a:accent2>
      <a:accent3>
        <a:srgbClr val="FE9F34"/>
      </a:accent3>
      <a:accent4>
        <a:srgbClr val="81017E"/>
      </a:accent4>
      <a:accent5>
        <a:srgbClr val="007A54"/>
      </a:accent5>
      <a:accent6>
        <a:srgbClr val="003366"/>
      </a:accent6>
      <a:hlink>
        <a:srgbClr val="FE9F34"/>
      </a:hlink>
      <a:folHlink>
        <a:srgbClr val="81017E"/>
      </a:folHlink>
    </a:clrScheme>
    <a:fontScheme name="SI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2000" dirty="0" err="1" smtClean="0">
            <a:latin typeface="Arial Narrow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dirty="0" err="1" smtClean="0">
            <a:latin typeface="Arial Narrow" pitchFamily="34" charset="0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7AC0EA3EF2B8429A07E926BDE1E468" ma:contentTypeVersion="2" ma:contentTypeDescription="Create a new document." ma:contentTypeScope="" ma:versionID="52ef3d830db46a4220af0ee0d5d32c7c">
  <xsd:schema xmlns:xsd="http://www.w3.org/2001/XMLSchema" xmlns:xs="http://www.w3.org/2001/XMLSchema" xmlns:p="http://schemas.microsoft.com/office/2006/metadata/properties" xmlns:ns2="98ad3081-81db-4dab-bf5c-95e9b3779910" targetNamespace="http://schemas.microsoft.com/office/2006/metadata/properties" ma:root="true" ma:fieldsID="f6f1728a9775ca4046b83fbde8f7374f" ns2:_="">
    <xsd:import namespace="98ad3081-81db-4dab-bf5c-95e9b37799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ad3081-81db-4dab-bf5c-95e9b37799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844881-9A46-4C79-B8BE-630D498FDE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552DD2-6227-4DDF-BE25-64908B03B203}">
  <ds:schemaRefs>
    <ds:schemaRef ds:uri="98ad3081-81db-4dab-bf5c-95e9b3779910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EA5D07B-E029-49AB-BEB6-3A512C22A7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ad3081-81db-4dab-bf5c-95e9b37799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5108</TotalTime>
  <Words>144</Words>
  <Application>Microsoft Office PowerPoint</Application>
  <PresentationFormat>Widescreen</PresentationFormat>
  <Paragraphs>20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5" baseType="lpstr">
      <vt:lpstr>Arial</vt:lpstr>
      <vt:lpstr>Arial Narrow</vt:lpstr>
      <vt:lpstr>Calibri</vt:lpstr>
      <vt:lpstr>Calibri Light</vt:lpstr>
      <vt:lpstr>Univers LT Std 47 Cn Lt</vt:lpstr>
      <vt:lpstr>Wingdings</vt:lpstr>
      <vt:lpstr>Completions</vt:lpstr>
      <vt:lpstr>Custom Design</vt:lpstr>
      <vt:lpstr>1_Completions</vt:lpstr>
      <vt:lpstr>19_Support Platform</vt:lpstr>
      <vt:lpstr>1_Custom Design</vt:lpstr>
      <vt:lpstr>2_Completions</vt:lpstr>
      <vt:lpstr>3_Completions</vt:lpstr>
      <vt:lpstr>7_Support Platform</vt:lpstr>
      <vt:lpstr>27_Support Platform</vt:lpstr>
      <vt:lpstr>2_Custom Design</vt:lpstr>
      <vt:lpstr>think-cell Slide</vt:lpstr>
      <vt:lpstr>N2 Gas Bullhead @ 100gpm Pump rate:  Frequency band: 0 – 5000 Hz (Summation of all acoustic source energy in all the different frequency bands</vt:lpstr>
      <vt:lpstr>N2 Gas Bullhead @ 100gpm Pump rate:  Frequency band: 2 – 10 Hz</vt:lpstr>
      <vt:lpstr>N2 Gas Bullhead @ 100gpm Pump rate:  Frequency band: 10 – 50 Hz</vt:lpstr>
      <vt:lpstr>N2 Gas Bullhead @ 100gpm Pump rate:  Frequency band: 50 – 200 Hz</vt:lpstr>
      <vt:lpstr>N2 Gas Bullhead @ 100gpm Pump rate:  Frequency band: 200 – 500 Hz</vt:lpstr>
      <vt:lpstr>N2 Gas Bullhead @ 100gpm Pump rate:  Frequency band: 500 – 1000 Hz</vt:lpstr>
      <vt:lpstr>N2 Gas Bullhead @ 100gpm Pump rate:  Frequency band: 1000 – 2500 Hz</vt:lpstr>
      <vt:lpstr>N2 Gas Bullhead @ 100gpm Pump rate:  Frequency band: 2500 – 5000 Hz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SU Early Gas Kick Detection Tests: Quick-Look Review of Real Time Monitoring of hDVS (DAS) Data</dc:title>
  <dc:creator/>
  <cp:lastModifiedBy>Toba Ogunsanwo</cp:lastModifiedBy>
  <cp:revision>3338</cp:revision>
  <cp:lastPrinted>2018-10-23T20:31:33Z</cp:lastPrinted>
  <dcterms:modified xsi:type="dcterms:W3CDTF">2020-01-24T03:4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7AC0EA3EF2B8429A07E926BDE1E468</vt:lpwstr>
  </property>
  <property fmtid="{D5CDD505-2E9C-101B-9397-08002B2CF9AE}" pid="3" name="MSIP_Label_585f1f62-8d2b-4457-869c-0a13c6549635_Enabled">
    <vt:lpwstr>True</vt:lpwstr>
  </property>
  <property fmtid="{D5CDD505-2E9C-101B-9397-08002B2CF9AE}" pid="4" name="MSIP_Label_585f1f62-8d2b-4457-869c-0a13c6549635_SiteId">
    <vt:lpwstr>41ff26dc-250f-4b13-8981-739be8610c21</vt:lpwstr>
  </property>
  <property fmtid="{D5CDD505-2E9C-101B-9397-08002B2CF9AE}" pid="5" name="MSIP_Label_585f1f62-8d2b-4457-869c-0a13c6549635_Owner">
    <vt:lpwstr>GSkaggs@slb.com</vt:lpwstr>
  </property>
  <property fmtid="{D5CDD505-2E9C-101B-9397-08002B2CF9AE}" pid="6" name="MSIP_Label_585f1f62-8d2b-4457-869c-0a13c6549635_SetDate">
    <vt:lpwstr>2018-08-30T13:51:54.1482136Z</vt:lpwstr>
  </property>
  <property fmtid="{D5CDD505-2E9C-101B-9397-08002B2CF9AE}" pid="7" name="MSIP_Label_585f1f62-8d2b-4457-869c-0a13c6549635_Name">
    <vt:lpwstr>Private</vt:lpwstr>
  </property>
  <property fmtid="{D5CDD505-2E9C-101B-9397-08002B2CF9AE}" pid="8" name="MSIP_Label_585f1f62-8d2b-4457-869c-0a13c6549635_Application">
    <vt:lpwstr>Microsoft Azure Information Protection</vt:lpwstr>
  </property>
  <property fmtid="{D5CDD505-2E9C-101B-9397-08002B2CF9AE}" pid="9" name="MSIP_Label_585f1f62-8d2b-4457-869c-0a13c6549635_Extended_MSFT_Method">
    <vt:lpwstr>Automatic</vt:lpwstr>
  </property>
  <property fmtid="{D5CDD505-2E9C-101B-9397-08002B2CF9AE}" pid="10" name="MSIP_Label_8bb759f6-5337-4dc5-b19b-e74b6da11f8f_Enabled">
    <vt:lpwstr>True</vt:lpwstr>
  </property>
  <property fmtid="{D5CDD505-2E9C-101B-9397-08002B2CF9AE}" pid="11" name="MSIP_Label_8bb759f6-5337-4dc5-b19b-e74b6da11f8f_SiteId">
    <vt:lpwstr>41ff26dc-250f-4b13-8981-739be8610c21</vt:lpwstr>
  </property>
  <property fmtid="{D5CDD505-2E9C-101B-9397-08002B2CF9AE}" pid="12" name="MSIP_Label_8bb759f6-5337-4dc5-b19b-e74b6da11f8f_Owner">
    <vt:lpwstr>GSkaggs@slb.com</vt:lpwstr>
  </property>
  <property fmtid="{D5CDD505-2E9C-101B-9397-08002B2CF9AE}" pid="13" name="MSIP_Label_8bb759f6-5337-4dc5-b19b-e74b6da11f8f_SetDate">
    <vt:lpwstr>2018-08-30T13:51:54.1482136Z</vt:lpwstr>
  </property>
  <property fmtid="{D5CDD505-2E9C-101B-9397-08002B2CF9AE}" pid="14" name="MSIP_Label_8bb759f6-5337-4dc5-b19b-e74b6da11f8f_Name">
    <vt:lpwstr>Internal</vt:lpwstr>
  </property>
  <property fmtid="{D5CDD505-2E9C-101B-9397-08002B2CF9AE}" pid="15" name="MSIP_Label_8bb759f6-5337-4dc5-b19b-e74b6da11f8f_Application">
    <vt:lpwstr>Microsoft Azure Information Protection</vt:lpwstr>
  </property>
  <property fmtid="{D5CDD505-2E9C-101B-9397-08002B2CF9AE}" pid="16" name="MSIP_Label_8bb759f6-5337-4dc5-b19b-e74b6da11f8f_Parent">
    <vt:lpwstr>585f1f62-8d2b-4457-869c-0a13c6549635</vt:lpwstr>
  </property>
  <property fmtid="{D5CDD505-2E9C-101B-9397-08002B2CF9AE}" pid="17" name="MSIP_Label_8bb759f6-5337-4dc5-b19b-e74b6da11f8f_Extended_MSFT_Method">
    <vt:lpwstr>Automatic</vt:lpwstr>
  </property>
  <property fmtid="{D5CDD505-2E9C-101B-9397-08002B2CF9AE}" pid="18" name="Sensitivity">
    <vt:lpwstr>Private Internal</vt:lpwstr>
  </property>
</Properties>
</file>